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66" r:id="rId5"/>
    <p:sldMasterId id="2147483838" r:id="rId6"/>
    <p:sldMasterId id="2147483858" r:id="rId7"/>
  </p:sldMasterIdLst>
  <p:notesMasterIdLst>
    <p:notesMasterId r:id="rId17"/>
  </p:notesMasterIdLst>
  <p:handoutMasterIdLst>
    <p:handoutMasterId r:id="rId18"/>
  </p:handoutMasterIdLst>
  <p:sldIdLst>
    <p:sldId id="407" r:id="rId8"/>
    <p:sldId id="350" r:id="rId9"/>
    <p:sldId id="265" r:id="rId10"/>
    <p:sldId id="408" r:id="rId11"/>
    <p:sldId id="409" r:id="rId12"/>
    <p:sldId id="424" r:id="rId13"/>
    <p:sldId id="351" r:id="rId14"/>
    <p:sldId id="273" r:id="rId15"/>
    <p:sldId id="274"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350"/>
            <p14:sldId id="265"/>
            <p14:sldId id="408"/>
            <p14:sldId id="409"/>
            <p14:sldId id="424"/>
            <p14:sldId id="351"/>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C75531-61D8-4434-AC2E-38CD63001C93}" v="40" dt="2025-10-15T05:23:09.7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5291" autoAdjust="0"/>
  </p:normalViewPr>
  <p:slideViewPr>
    <p:cSldViewPr>
      <p:cViewPr varScale="1">
        <p:scale>
          <a:sx n="63" d="100"/>
          <a:sy n="63" d="100"/>
        </p:scale>
        <p:origin x="764"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kash B, Bhanu" userId="673c8836-55e7-400d-a49c-1e24023dc72b" providerId="ADAL" clId="{94C75531-61D8-4434-AC2E-38CD63001C93}"/>
    <pc:docChg chg="undo custSel addSld delSld modSld modSection">
      <pc:chgData name="Prakash B, Bhanu" userId="673c8836-55e7-400d-a49c-1e24023dc72b" providerId="ADAL" clId="{94C75531-61D8-4434-AC2E-38CD63001C93}" dt="2025-10-15T05:23:09.745" v="845"/>
      <pc:docMkLst>
        <pc:docMk/>
      </pc:docMkLst>
      <pc:sldChg chg="addSp delSp modSp mod">
        <pc:chgData name="Prakash B, Bhanu" userId="673c8836-55e7-400d-a49c-1e24023dc72b" providerId="ADAL" clId="{94C75531-61D8-4434-AC2E-38CD63001C93}" dt="2025-10-15T05:08:38.703" v="710"/>
        <pc:sldMkLst>
          <pc:docMk/>
          <pc:sldMk cId="0" sldId="265"/>
        </pc:sldMkLst>
        <pc:spChg chg="mod">
          <ac:chgData name="Prakash B, Bhanu" userId="673c8836-55e7-400d-a49c-1e24023dc72b" providerId="ADAL" clId="{94C75531-61D8-4434-AC2E-38CD63001C93}" dt="2025-10-15T04:55:34.661" v="373" actId="20577"/>
          <ac:spMkLst>
            <pc:docMk/>
            <pc:sldMk cId="0" sldId="265"/>
            <ac:spMk id="4" creationId="{00000000-0000-0000-0000-000000000000}"/>
          </ac:spMkLst>
        </pc:spChg>
        <pc:spChg chg="mod">
          <ac:chgData name="Prakash B, Bhanu" userId="673c8836-55e7-400d-a49c-1e24023dc72b" providerId="ADAL" clId="{94C75531-61D8-4434-AC2E-38CD63001C93}" dt="2025-10-15T04:59:29.523" v="440" actId="1076"/>
          <ac:spMkLst>
            <pc:docMk/>
            <pc:sldMk cId="0" sldId="265"/>
            <ac:spMk id="5" creationId="{00000000-0000-0000-0000-000000000000}"/>
          </ac:spMkLst>
        </pc:spChg>
        <pc:spChg chg="add mod">
          <ac:chgData name="Prakash B, Bhanu" userId="673c8836-55e7-400d-a49c-1e24023dc72b" providerId="ADAL" clId="{94C75531-61D8-4434-AC2E-38CD63001C93}" dt="2025-10-15T04:59:22.898" v="439" actId="6549"/>
          <ac:spMkLst>
            <pc:docMk/>
            <pc:sldMk cId="0" sldId="265"/>
            <ac:spMk id="6" creationId="{CA4CF851-9796-9A5D-B2D3-40E7EE73DD70}"/>
          </ac:spMkLst>
        </pc:spChg>
        <pc:spChg chg="mod">
          <ac:chgData name="Prakash B, Bhanu" userId="673c8836-55e7-400d-a49c-1e24023dc72b" providerId="ADAL" clId="{94C75531-61D8-4434-AC2E-38CD63001C93}" dt="2025-10-15T05:08:38.703" v="710"/>
          <ac:spMkLst>
            <pc:docMk/>
            <pc:sldMk cId="0" sldId="265"/>
            <ac:spMk id="8" creationId="{0C07043F-366C-442F-BE52-501E8DF6C947}"/>
          </ac:spMkLst>
        </pc:spChg>
        <pc:picChg chg="add mod">
          <ac:chgData name="Prakash B, Bhanu" userId="673c8836-55e7-400d-a49c-1e24023dc72b" providerId="ADAL" clId="{94C75531-61D8-4434-AC2E-38CD63001C93}" dt="2025-10-15T04:57:07.705" v="387" actId="1076"/>
          <ac:picMkLst>
            <pc:docMk/>
            <pc:sldMk cId="0" sldId="265"/>
            <ac:picMk id="3" creationId="{F0A166D1-5F11-77D3-E03F-C1F01E3C149F}"/>
          </ac:picMkLst>
        </pc:picChg>
        <pc:picChg chg="del">
          <ac:chgData name="Prakash B, Bhanu" userId="673c8836-55e7-400d-a49c-1e24023dc72b" providerId="ADAL" clId="{94C75531-61D8-4434-AC2E-38CD63001C93}" dt="2025-10-15T04:56:00.977" v="378" actId="478"/>
          <ac:picMkLst>
            <pc:docMk/>
            <pc:sldMk cId="0" sldId="265"/>
            <ac:picMk id="73730" creationId="{4EE45699-DE40-412D-9740-7272B0FF6E42}"/>
          </ac:picMkLst>
        </pc:picChg>
      </pc:sldChg>
      <pc:sldChg chg="addSp delSp modSp mod">
        <pc:chgData name="Prakash B, Bhanu" userId="673c8836-55e7-400d-a49c-1e24023dc72b" providerId="ADAL" clId="{94C75531-61D8-4434-AC2E-38CD63001C93}" dt="2025-10-15T05:23:09.745" v="845"/>
        <pc:sldMkLst>
          <pc:docMk/>
          <pc:sldMk cId="2200284910" sldId="350"/>
        </pc:sldMkLst>
        <pc:spChg chg="add del mod">
          <ac:chgData name="Prakash B, Bhanu" userId="673c8836-55e7-400d-a49c-1e24023dc72b" providerId="ADAL" clId="{94C75531-61D8-4434-AC2E-38CD63001C93}" dt="2025-10-15T05:20:57.472" v="826" actId="478"/>
          <ac:spMkLst>
            <pc:docMk/>
            <pc:sldMk cId="2200284910" sldId="350"/>
            <ac:spMk id="3" creationId="{16D369C9-ACA9-D0F8-8A15-C2C36151A846}"/>
          </ac:spMkLst>
        </pc:spChg>
        <pc:spChg chg="add del mod">
          <ac:chgData name="Prakash B, Bhanu" userId="673c8836-55e7-400d-a49c-1e24023dc72b" providerId="ADAL" clId="{94C75531-61D8-4434-AC2E-38CD63001C93}" dt="2025-10-15T05:20:57.472" v="826" actId="478"/>
          <ac:spMkLst>
            <pc:docMk/>
            <pc:sldMk cId="2200284910" sldId="350"/>
            <ac:spMk id="5" creationId="{84111BBB-1418-4D97-E5D2-92651B4C0AD9}"/>
          </ac:spMkLst>
        </pc:spChg>
        <pc:spChg chg="mod">
          <ac:chgData name="Prakash B, Bhanu" userId="673c8836-55e7-400d-a49c-1e24023dc72b" providerId="ADAL" clId="{94C75531-61D8-4434-AC2E-38CD63001C93}" dt="2025-10-15T04:55:00.169" v="346" actId="20577"/>
          <ac:spMkLst>
            <pc:docMk/>
            <pc:sldMk cId="2200284910" sldId="350"/>
            <ac:spMk id="6" creationId="{00000000-0000-0000-0000-000000000000}"/>
          </ac:spMkLst>
        </pc:spChg>
        <pc:spChg chg="mod">
          <ac:chgData name="Prakash B, Bhanu" userId="673c8836-55e7-400d-a49c-1e24023dc72b" providerId="ADAL" clId="{94C75531-61D8-4434-AC2E-38CD63001C93}" dt="2025-10-15T05:21:25.484" v="831" actId="20577"/>
          <ac:spMkLst>
            <pc:docMk/>
            <pc:sldMk cId="2200284910" sldId="350"/>
            <ac:spMk id="7" creationId="{00000000-0000-0000-0000-000000000000}"/>
          </ac:spMkLst>
        </pc:spChg>
        <pc:spChg chg="mod">
          <ac:chgData name="Prakash B, Bhanu" userId="673c8836-55e7-400d-a49c-1e24023dc72b" providerId="ADAL" clId="{94C75531-61D8-4434-AC2E-38CD63001C93}" dt="2025-10-15T05:23:09.745" v="845"/>
          <ac:spMkLst>
            <pc:docMk/>
            <pc:sldMk cId="2200284910" sldId="350"/>
            <ac:spMk id="8" creationId="{00000000-0000-0000-0000-000000000000}"/>
          </ac:spMkLst>
        </pc:spChg>
        <pc:spChg chg="mod">
          <ac:chgData name="Prakash B, Bhanu" userId="673c8836-55e7-400d-a49c-1e24023dc72b" providerId="ADAL" clId="{94C75531-61D8-4434-AC2E-38CD63001C93}" dt="2025-10-15T05:21:27.678" v="833" actId="20577"/>
          <ac:spMkLst>
            <pc:docMk/>
            <pc:sldMk cId="2200284910" sldId="350"/>
            <ac:spMk id="9" creationId="{00000000-0000-0000-0000-000000000000}"/>
          </ac:spMkLst>
        </pc:spChg>
        <pc:spChg chg="mod">
          <ac:chgData name="Prakash B, Bhanu" userId="673c8836-55e7-400d-a49c-1e24023dc72b" providerId="ADAL" clId="{94C75531-61D8-4434-AC2E-38CD63001C93}" dt="2025-10-15T05:21:10.035" v="829" actId="1076"/>
          <ac:spMkLst>
            <pc:docMk/>
            <pc:sldMk cId="2200284910" sldId="350"/>
            <ac:spMk id="10" creationId="{00000000-0000-0000-0000-000000000000}"/>
          </ac:spMkLst>
        </pc:spChg>
        <pc:spChg chg="del mod">
          <ac:chgData name="Prakash B, Bhanu" userId="673c8836-55e7-400d-a49c-1e24023dc72b" providerId="ADAL" clId="{94C75531-61D8-4434-AC2E-38CD63001C93}" dt="2025-10-15T05:20:52.819" v="825" actId="478"/>
          <ac:spMkLst>
            <pc:docMk/>
            <pc:sldMk cId="2200284910" sldId="350"/>
            <ac:spMk id="11" creationId="{00000000-0000-0000-0000-000000000000}"/>
          </ac:spMkLst>
        </pc:spChg>
        <pc:spChg chg="del mod">
          <ac:chgData name="Prakash B, Bhanu" userId="673c8836-55e7-400d-a49c-1e24023dc72b" providerId="ADAL" clId="{94C75531-61D8-4434-AC2E-38CD63001C93}" dt="2025-10-15T05:20:52.819" v="825" actId="478"/>
          <ac:spMkLst>
            <pc:docMk/>
            <pc:sldMk cId="2200284910" sldId="350"/>
            <ac:spMk id="12" creationId="{00000000-0000-0000-0000-000000000000}"/>
          </ac:spMkLst>
        </pc:spChg>
        <pc:spChg chg="del">
          <ac:chgData name="Prakash B, Bhanu" userId="673c8836-55e7-400d-a49c-1e24023dc72b" providerId="ADAL" clId="{94C75531-61D8-4434-AC2E-38CD63001C93}" dt="2025-10-15T05:20:52.819" v="825" actId="478"/>
          <ac:spMkLst>
            <pc:docMk/>
            <pc:sldMk cId="2200284910" sldId="350"/>
            <ac:spMk id="14" creationId="{00000000-0000-0000-0000-000000000000}"/>
          </ac:spMkLst>
        </pc:spChg>
        <pc:spChg chg="mod">
          <ac:chgData name="Prakash B, Bhanu" userId="673c8836-55e7-400d-a49c-1e24023dc72b" providerId="ADAL" clId="{94C75531-61D8-4434-AC2E-38CD63001C93}" dt="2025-10-15T05:21:10.035" v="829" actId="1076"/>
          <ac:spMkLst>
            <pc:docMk/>
            <pc:sldMk cId="2200284910" sldId="350"/>
            <ac:spMk id="15" creationId="{00000000-0000-0000-0000-000000000000}"/>
          </ac:spMkLst>
        </pc:spChg>
        <pc:spChg chg="mod">
          <ac:chgData name="Prakash B, Bhanu" userId="673c8836-55e7-400d-a49c-1e24023dc72b" providerId="ADAL" clId="{94C75531-61D8-4434-AC2E-38CD63001C93}" dt="2025-10-15T05:05:00.131" v="633" actId="20577"/>
          <ac:spMkLst>
            <pc:docMk/>
            <pc:sldMk cId="2200284910" sldId="350"/>
            <ac:spMk id="16" creationId="{00000000-0000-0000-0000-000000000000}"/>
          </ac:spMkLst>
        </pc:spChg>
        <pc:spChg chg="mod">
          <ac:chgData name="Prakash B, Bhanu" userId="673c8836-55e7-400d-a49c-1e24023dc72b" providerId="ADAL" clId="{94C75531-61D8-4434-AC2E-38CD63001C93}" dt="2025-10-15T05:21:10.035" v="829" actId="1076"/>
          <ac:spMkLst>
            <pc:docMk/>
            <pc:sldMk cId="2200284910" sldId="350"/>
            <ac:spMk id="17" creationId="{ADB39E78-E9B7-40CD-9999-E8302C610DC2}"/>
          </ac:spMkLst>
        </pc:spChg>
        <pc:spChg chg="del">
          <ac:chgData name="Prakash B, Bhanu" userId="673c8836-55e7-400d-a49c-1e24023dc72b" providerId="ADAL" clId="{94C75531-61D8-4434-AC2E-38CD63001C93}" dt="2025-10-15T05:20:52.819" v="825" actId="478"/>
          <ac:spMkLst>
            <pc:docMk/>
            <pc:sldMk cId="2200284910" sldId="350"/>
            <ac:spMk id="18" creationId="{80DEC651-0810-4FD4-A2CA-C54974433D45}"/>
          </ac:spMkLst>
        </pc:spChg>
        <pc:spChg chg="add del mod">
          <ac:chgData name="Prakash B, Bhanu" userId="673c8836-55e7-400d-a49c-1e24023dc72b" providerId="ADAL" clId="{94C75531-61D8-4434-AC2E-38CD63001C93}" dt="2025-10-15T05:20:57.472" v="826" actId="478"/>
          <ac:spMkLst>
            <pc:docMk/>
            <pc:sldMk cId="2200284910" sldId="350"/>
            <ac:spMk id="22" creationId="{C08930F9-EED3-0570-A668-1C3D7F941C61}"/>
          </ac:spMkLst>
        </pc:spChg>
      </pc:sldChg>
      <pc:sldChg chg="modSp mod">
        <pc:chgData name="Prakash B, Bhanu" userId="673c8836-55e7-400d-a49c-1e24023dc72b" providerId="ADAL" clId="{94C75531-61D8-4434-AC2E-38CD63001C93}" dt="2025-10-15T05:20:08.465" v="814" actId="20577"/>
        <pc:sldMkLst>
          <pc:docMk/>
          <pc:sldMk cId="2966989272" sldId="351"/>
        </pc:sldMkLst>
        <pc:spChg chg="mod">
          <ac:chgData name="Prakash B, Bhanu" userId="673c8836-55e7-400d-a49c-1e24023dc72b" providerId="ADAL" clId="{94C75531-61D8-4434-AC2E-38CD63001C93}" dt="2025-10-15T05:20:08.465" v="814" actId="20577"/>
          <ac:spMkLst>
            <pc:docMk/>
            <pc:sldMk cId="2966989272" sldId="351"/>
            <ac:spMk id="3" creationId="{D8851A46-C6AE-4E73-8B8D-CDC0CD9F32CF}"/>
          </ac:spMkLst>
        </pc:spChg>
      </pc:sldChg>
      <pc:sldChg chg="modSp mod">
        <pc:chgData name="Prakash B, Bhanu" userId="673c8836-55e7-400d-a49c-1e24023dc72b" providerId="ADAL" clId="{94C75531-61D8-4434-AC2E-38CD63001C93}" dt="2025-10-15T03:46:53.175" v="40" actId="20577"/>
        <pc:sldMkLst>
          <pc:docMk/>
          <pc:sldMk cId="3367994799" sldId="407"/>
        </pc:sldMkLst>
        <pc:spChg chg="mod">
          <ac:chgData name="Prakash B, Bhanu" userId="673c8836-55e7-400d-a49c-1e24023dc72b" providerId="ADAL" clId="{94C75531-61D8-4434-AC2E-38CD63001C93}" dt="2025-10-15T03:46:38.650" v="35" actId="1076"/>
          <ac:spMkLst>
            <pc:docMk/>
            <pc:sldMk cId="3367994799" sldId="407"/>
            <ac:spMk id="2" creationId="{A693464A-4C8A-423D-ADBD-B1151BF81CE8}"/>
          </ac:spMkLst>
        </pc:spChg>
        <pc:spChg chg="mod">
          <ac:chgData name="Prakash B, Bhanu" userId="673c8836-55e7-400d-a49c-1e24023dc72b" providerId="ADAL" clId="{94C75531-61D8-4434-AC2E-38CD63001C93}" dt="2025-10-15T03:46:53.175" v="40" actId="20577"/>
          <ac:spMkLst>
            <pc:docMk/>
            <pc:sldMk cId="3367994799" sldId="407"/>
            <ac:spMk id="3" creationId="{57A45627-AC2A-46AA-8765-92D71861F45D}"/>
          </ac:spMkLst>
        </pc:spChg>
      </pc:sldChg>
      <pc:sldChg chg="addSp modSp mod">
        <pc:chgData name="Prakash B, Bhanu" userId="673c8836-55e7-400d-a49c-1e24023dc72b" providerId="ADAL" clId="{94C75531-61D8-4434-AC2E-38CD63001C93}" dt="2025-10-15T05:08:38.703" v="710"/>
        <pc:sldMkLst>
          <pc:docMk/>
          <pc:sldMk cId="3422546325" sldId="408"/>
        </pc:sldMkLst>
        <pc:spChg chg="mod">
          <ac:chgData name="Prakash B, Bhanu" userId="673c8836-55e7-400d-a49c-1e24023dc72b" providerId="ADAL" clId="{94C75531-61D8-4434-AC2E-38CD63001C93}" dt="2025-10-15T05:00:29.527" v="487" actId="20577"/>
          <ac:spMkLst>
            <pc:docMk/>
            <pc:sldMk cId="3422546325" sldId="408"/>
            <ac:spMk id="4" creationId="{00000000-0000-0000-0000-000000000000}"/>
          </ac:spMkLst>
        </pc:spChg>
        <pc:spChg chg="mod">
          <ac:chgData name="Prakash B, Bhanu" userId="673c8836-55e7-400d-a49c-1e24023dc72b" providerId="ADAL" clId="{94C75531-61D8-4434-AC2E-38CD63001C93}" dt="2025-10-15T05:08:38.703" v="710"/>
          <ac:spMkLst>
            <pc:docMk/>
            <pc:sldMk cId="3422546325" sldId="408"/>
            <ac:spMk id="5" creationId="{00000000-0000-0000-0000-000000000000}"/>
          </ac:spMkLst>
        </pc:spChg>
        <pc:picChg chg="add mod">
          <ac:chgData name="Prakash B, Bhanu" userId="673c8836-55e7-400d-a49c-1e24023dc72b" providerId="ADAL" clId="{94C75531-61D8-4434-AC2E-38CD63001C93}" dt="2025-10-15T05:03:35.081" v="548" actId="1076"/>
          <ac:picMkLst>
            <pc:docMk/>
            <pc:sldMk cId="3422546325" sldId="408"/>
            <ac:picMk id="3" creationId="{A19C3486-3864-A210-8B49-99D4BC58566E}"/>
          </ac:picMkLst>
        </pc:picChg>
        <pc:picChg chg="add mod">
          <ac:chgData name="Prakash B, Bhanu" userId="673c8836-55e7-400d-a49c-1e24023dc72b" providerId="ADAL" clId="{94C75531-61D8-4434-AC2E-38CD63001C93}" dt="2025-10-15T05:04:14.995" v="552" actId="14100"/>
          <ac:picMkLst>
            <pc:docMk/>
            <pc:sldMk cId="3422546325" sldId="408"/>
            <ac:picMk id="7" creationId="{71ECA748-B2F0-67EA-5E70-1C54B27B29A0}"/>
          </ac:picMkLst>
        </pc:picChg>
      </pc:sldChg>
      <pc:sldChg chg="addSp delSp modSp mod">
        <pc:chgData name="Prakash B, Bhanu" userId="673c8836-55e7-400d-a49c-1e24023dc72b" providerId="ADAL" clId="{94C75531-61D8-4434-AC2E-38CD63001C93}" dt="2025-10-15T05:12:55.456" v="735" actId="1076"/>
        <pc:sldMkLst>
          <pc:docMk/>
          <pc:sldMk cId="4243669556" sldId="409"/>
        </pc:sldMkLst>
        <pc:spChg chg="add del mod">
          <ac:chgData name="Prakash B, Bhanu" userId="673c8836-55e7-400d-a49c-1e24023dc72b" providerId="ADAL" clId="{94C75531-61D8-4434-AC2E-38CD63001C93}" dt="2025-10-15T05:06:33.841" v="656" actId="478"/>
          <ac:spMkLst>
            <pc:docMk/>
            <pc:sldMk cId="4243669556" sldId="409"/>
            <ac:spMk id="3" creationId="{7EC5AA64-94B6-1116-CE87-4AF44B6E9019}"/>
          </ac:spMkLst>
        </pc:spChg>
        <pc:spChg chg="mod">
          <ac:chgData name="Prakash B, Bhanu" userId="673c8836-55e7-400d-a49c-1e24023dc72b" providerId="ADAL" clId="{94C75531-61D8-4434-AC2E-38CD63001C93}" dt="2025-10-15T05:05:22.753" v="647" actId="20577"/>
          <ac:spMkLst>
            <pc:docMk/>
            <pc:sldMk cId="4243669556" sldId="409"/>
            <ac:spMk id="4" creationId="{00000000-0000-0000-0000-000000000000}"/>
          </ac:spMkLst>
        </pc:spChg>
        <pc:spChg chg="del mod">
          <ac:chgData name="Prakash B, Bhanu" userId="673c8836-55e7-400d-a49c-1e24023dc72b" providerId="ADAL" clId="{94C75531-61D8-4434-AC2E-38CD63001C93}" dt="2025-10-15T05:06:27.911" v="654" actId="478"/>
          <ac:spMkLst>
            <pc:docMk/>
            <pc:sldMk cId="4243669556" sldId="409"/>
            <ac:spMk id="5" creationId="{00000000-0000-0000-0000-000000000000}"/>
          </ac:spMkLst>
        </pc:spChg>
        <pc:spChg chg="add mod">
          <ac:chgData name="Prakash B, Bhanu" userId="673c8836-55e7-400d-a49c-1e24023dc72b" providerId="ADAL" clId="{94C75531-61D8-4434-AC2E-38CD63001C93}" dt="2025-10-15T05:08:38.703" v="710"/>
          <ac:spMkLst>
            <pc:docMk/>
            <pc:sldMk cId="4243669556" sldId="409"/>
            <ac:spMk id="6" creationId="{BA70DF08-7191-7FD1-95B3-AEB88B2A07DD}"/>
          </ac:spMkLst>
        </pc:spChg>
        <pc:spChg chg="add mod">
          <ac:chgData name="Prakash B, Bhanu" userId="673c8836-55e7-400d-a49c-1e24023dc72b" providerId="ADAL" clId="{94C75531-61D8-4434-AC2E-38CD63001C93}" dt="2025-10-15T05:11:46.878" v="730" actId="1076"/>
          <ac:spMkLst>
            <pc:docMk/>
            <pc:sldMk cId="4243669556" sldId="409"/>
            <ac:spMk id="7" creationId="{720DC18A-3E9C-BFA7-05E6-449E565C7E00}"/>
          </ac:spMkLst>
        </pc:spChg>
        <pc:spChg chg="add mod">
          <ac:chgData name="Prakash B, Bhanu" userId="673c8836-55e7-400d-a49c-1e24023dc72b" providerId="ADAL" clId="{94C75531-61D8-4434-AC2E-38CD63001C93}" dt="2025-10-15T05:10:36.526" v="717" actId="688"/>
          <ac:spMkLst>
            <pc:docMk/>
            <pc:sldMk cId="4243669556" sldId="409"/>
            <ac:spMk id="8" creationId="{A66B21A6-6BF7-E46B-B79F-0DDBF2AF4CA9}"/>
          </ac:spMkLst>
        </pc:spChg>
        <pc:spChg chg="del">
          <ac:chgData name="Prakash B, Bhanu" userId="673c8836-55e7-400d-a49c-1e24023dc72b" providerId="ADAL" clId="{94C75531-61D8-4434-AC2E-38CD63001C93}" dt="2025-10-15T05:05:47.127" v="651" actId="478"/>
          <ac:spMkLst>
            <pc:docMk/>
            <pc:sldMk cId="4243669556" sldId="409"/>
            <ac:spMk id="9" creationId="{9C19B8DF-8512-40BC-A9CA-67593028BE10}"/>
          </ac:spMkLst>
        </pc:spChg>
        <pc:spChg chg="add mod">
          <ac:chgData name="Prakash B, Bhanu" userId="673c8836-55e7-400d-a49c-1e24023dc72b" providerId="ADAL" clId="{94C75531-61D8-4434-AC2E-38CD63001C93}" dt="2025-10-15T05:11:05.562" v="724" actId="1076"/>
          <ac:spMkLst>
            <pc:docMk/>
            <pc:sldMk cId="4243669556" sldId="409"/>
            <ac:spMk id="10" creationId="{D265F622-5FB3-EC0C-D18B-B2B5F85793CD}"/>
          </ac:spMkLst>
        </pc:spChg>
        <pc:picChg chg="add mod">
          <ac:chgData name="Prakash B, Bhanu" userId="673c8836-55e7-400d-a49c-1e24023dc72b" providerId="ADAL" clId="{94C75531-61D8-4434-AC2E-38CD63001C93}" dt="2025-10-15T05:11:17.359" v="727" actId="1076"/>
          <ac:picMkLst>
            <pc:docMk/>
            <pc:sldMk cId="4243669556" sldId="409"/>
            <ac:picMk id="12" creationId="{1FEFDCBF-99A1-E3C8-076E-56ED5EACC14B}"/>
          </ac:picMkLst>
        </pc:picChg>
        <pc:picChg chg="add mod">
          <ac:chgData name="Prakash B, Bhanu" userId="673c8836-55e7-400d-a49c-1e24023dc72b" providerId="ADAL" clId="{94C75531-61D8-4434-AC2E-38CD63001C93}" dt="2025-10-15T05:11:14.831" v="726" actId="1076"/>
          <ac:picMkLst>
            <pc:docMk/>
            <pc:sldMk cId="4243669556" sldId="409"/>
            <ac:picMk id="14" creationId="{B0A0DB74-A026-4C4A-F989-E93D7E8F9E81}"/>
          </ac:picMkLst>
        </pc:picChg>
        <pc:picChg chg="add mod">
          <ac:chgData name="Prakash B, Bhanu" userId="673c8836-55e7-400d-a49c-1e24023dc72b" providerId="ADAL" clId="{94C75531-61D8-4434-AC2E-38CD63001C93}" dt="2025-10-15T05:11:51.282" v="731" actId="1076"/>
          <ac:picMkLst>
            <pc:docMk/>
            <pc:sldMk cId="4243669556" sldId="409"/>
            <ac:picMk id="16" creationId="{3149FB6F-79F6-7804-73E4-208849FBD819}"/>
          </ac:picMkLst>
        </pc:picChg>
        <pc:picChg chg="add mod">
          <ac:chgData name="Prakash B, Bhanu" userId="673c8836-55e7-400d-a49c-1e24023dc72b" providerId="ADAL" clId="{94C75531-61D8-4434-AC2E-38CD63001C93}" dt="2025-10-15T05:12:55.456" v="735" actId="1076"/>
          <ac:picMkLst>
            <pc:docMk/>
            <pc:sldMk cId="4243669556" sldId="409"/>
            <ac:picMk id="73730" creationId="{FFCFC326-829C-01FE-C430-FBC3B1D5F350}"/>
          </ac:picMkLst>
        </pc:picChg>
        <pc:picChg chg="del">
          <ac:chgData name="Prakash B, Bhanu" userId="673c8836-55e7-400d-a49c-1e24023dc72b" providerId="ADAL" clId="{94C75531-61D8-4434-AC2E-38CD63001C93}" dt="2025-10-15T05:05:44.857" v="650" actId="478"/>
          <ac:picMkLst>
            <pc:docMk/>
            <pc:sldMk cId="4243669556" sldId="409"/>
            <ac:picMk id="74756" creationId="{814A64C7-3D88-44C3-8162-3D321F2FD2B9}"/>
          </ac:picMkLst>
        </pc:picChg>
        <pc:picChg chg="del">
          <ac:chgData name="Prakash B, Bhanu" userId="673c8836-55e7-400d-a49c-1e24023dc72b" providerId="ADAL" clId="{94C75531-61D8-4434-AC2E-38CD63001C93}" dt="2025-10-15T05:05:43.880" v="649" actId="478"/>
          <ac:picMkLst>
            <pc:docMk/>
            <pc:sldMk cId="4243669556" sldId="409"/>
            <ac:picMk id="74758" creationId="{33228C99-AD40-4A03-8E38-DD0826955296}"/>
          </ac:picMkLst>
        </pc:picChg>
      </pc:sldChg>
      <pc:sldChg chg="del">
        <pc:chgData name="Prakash B, Bhanu" userId="673c8836-55e7-400d-a49c-1e24023dc72b" providerId="ADAL" clId="{94C75531-61D8-4434-AC2E-38CD63001C93}" dt="2025-10-15T05:14:02.880" v="737" actId="47"/>
        <pc:sldMkLst>
          <pc:docMk/>
          <pc:sldMk cId="2263338991" sldId="411"/>
        </pc:sldMkLst>
      </pc:sldChg>
      <pc:sldChg chg="del">
        <pc:chgData name="Prakash B, Bhanu" userId="673c8836-55e7-400d-a49c-1e24023dc72b" providerId="ADAL" clId="{94C75531-61D8-4434-AC2E-38CD63001C93}" dt="2025-10-15T05:14:10.401" v="738" actId="47"/>
        <pc:sldMkLst>
          <pc:docMk/>
          <pc:sldMk cId="698243955" sldId="412"/>
        </pc:sldMkLst>
      </pc:sldChg>
      <pc:sldChg chg="del">
        <pc:chgData name="Prakash B, Bhanu" userId="673c8836-55e7-400d-a49c-1e24023dc72b" providerId="ADAL" clId="{94C75531-61D8-4434-AC2E-38CD63001C93}" dt="2025-10-15T05:20:25.378" v="820" actId="47"/>
        <pc:sldMkLst>
          <pc:docMk/>
          <pc:sldMk cId="4261699352" sldId="413"/>
        </pc:sldMkLst>
      </pc:sldChg>
      <pc:sldChg chg="modSp del">
        <pc:chgData name="Prakash B, Bhanu" userId="673c8836-55e7-400d-a49c-1e24023dc72b" providerId="ADAL" clId="{94C75531-61D8-4434-AC2E-38CD63001C93}" dt="2025-10-15T05:20:20.031" v="815" actId="47"/>
        <pc:sldMkLst>
          <pc:docMk/>
          <pc:sldMk cId="1293475067" sldId="414"/>
        </pc:sldMkLst>
        <pc:spChg chg="mod">
          <ac:chgData name="Prakash B, Bhanu" userId="673c8836-55e7-400d-a49c-1e24023dc72b" providerId="ADAL" clId="{94C75531-61D8-4434-AC2E-38CD63001C93}" dt="2025-10-15T05:08:38.703" v="710"/>
          <ac:spMkLst>
            <pc:docMk/>
            <pc:sldMk cId="1293475067" sldId="414"/>
            <ac:spMk id="5" creationId="{00000000-0000-0000-0000-000000000000}"/>
          </ac:spMkLst>
        </pc:spChg>
      </pc:sldChg>
      <pc:sldChg chg="modSp del">
        <pc:chgData name="Prakash B, Bhanu" userId="673c8836-55e7-400d-a49c-1e24023dc72b" providerId="ADAL" clId="{94C75531-61D8-4434-AC2E-38CD63001C93}" dt="2025-10-15T05:20:21.314" v="816" actId="47"/>
        <pc:sldMkLst>
          <pc:docMk/>
          <pc:sldMk cId="2010034377" sldId="416"/>
        </pc:sldMkLst>
        <pc:spChg chg="mod">
          <ac:chgData name="Prakash B, Bhanu" userId="673c8836-55e7-400d-a49c-1e24023dc72b" providerId="ADAL" clId="{94C75531-61D8-4434-AC2E-38CD63001C93}" dt="2025-10-15T05:08:38.703" v="710"/>
          <ac:spMkLst>
            <pc:docMk/>
            <pc:sldMk cId="2010034377" sldId="416"/>
            <ac:spMk id="4" creationId="{00000000-0000-0000-0000-000000000000}"/>
          </ac:spMkLst>
        </pc:spChg>
      </pc:sldChg>
      <pc:sldChg chg="del">
        <pc:chgData name="Prakash B, Bhanu" userId="673c8836-55e7-400d-a49c-1e24023dc72b" providerId="ADAL" clId="{94C75531-61D8-4434-AC2E-38CD63001C93}" dt="2025-10-15T05:20:22.323" v="817" actId="47"/>
        <pc:sldMkLst>
          <pc:docMk/>
          <pc:sldMk cId="3586023523" sldId="417"/>
        </pc:sldMkLst>
      </pc:sldChg>
      <pc:sldChg chg="del">
        <pc:chgData name="Prakash B, Bhanu" userId="673c8836-55e7-400d-a49c-1e24023dc72b" providerId="ADAL" clId="{94C75531-61D8-4434-AC2E-38CD63001C93}" dt="2025-10-15T05:20:26.327" v="821" actId="47"/>
        <pc:sldMkLst>
          <pc:docMk/>
          <pc:sldMk cId="4024412081" sldId="418"/>
        </pc:sldMkLst>
      </pc:sldChg>
      <pc:sldChg chg="del">
        <pc:chgData name="Prakash B, Bhanu" userId="673c8836-55e7-400d-a49c-1e24023dc72b" providerId="ADAL" clId="{94C75531-61D8-4434-AC2E-38CD63001C93}" dt="2025-10-15T05:20:27.164" v="822" actId="47"/>
        <pc:sldMkLst>
          <pc:docMk/>
          <pc:sldMk cId="3537989620" sldId="419"/>
        </pc:sldMkLst>
      </pc:sldChg>
      <pc:sldChg chg="modSp del">
        <pc:chgData name="Prakash B, Bhanu" userId="673c8836-55e7-400d-a49c-1e24023dc72b" providerId="ADAL" clId="{94C75531-61D8-4434-AC2E-38CD63001C93}" dt="2025-10-15T05:20:28.075" v="823" actId="47"/>
        <pc:sldMkLst>
          <pc:docMk/>
          <pc:sldMk cId="3286823885" sldId="420"/>
        </pc:sldMkLst>
        <pc:spChg chg="mod">
          <ac:chgData name="Prakash B, Bhanu" userId="673c8836-55e7-400d-a49c-1e24023dc72b" providerId="ADAL" clId="{94C75531-61D8-4434-AC2E-38CD63001C93}" dt="2025-10-15T05:08:38.703" v="710"/>
          <ac:spMkLst>
            <pc:docMk/>
            <pc:sldMk cId="3286823885" sldId="420"/>
            <ac:spMk id="4" creationId="{00000000-0000-0000-0000-000000000000}"/>
          </ac:spMkLst>
        </pc:spChg>
      </pc:sldChg>
      <pc:sldChg chg="del">
        <pc:chgData name="Prakash B, Bhanu" userId="673c8836-55e7-400d-a49c-1e24023dc72b" providerId="ADAL" clId="{94C75531-61D8-4434-AC2E-38CD63001C93}" dt="2025-10-15T05:20:29.139" v="824" actId="47"/>
        <pc:sldMkLst>
          <pc:docMk/>
          <pc:sldMk cId="219703604" sldId="421"/>
        </pc:sldMkLst>
      </pc:sldChg>
      <pc:sldChg chg="modSp del">
        <pc:chgData name="Prakash B, Bhanu" userId="673c8836-55e7-400d-a49c-1e24023dc72b" providerId="ADAL" clId="{94C75531-61D8-4434-AC2E-38CD63001C93}" dt="2025-10-15T05:20:23.281" v="818" actId="47"/>
        <pc:sldMkLst>
          <pc:docMk/>
          <pc:sldMk cId="1922330044" sldId="422"/>
        </pc:sldMkLst>
        <pc:graphicFrameChg chg="mod">
          <ac:chgData name="Prakash B, Bhanu" userId="673c8836-55e7-400d-a49c-1e24023dc72b" providerId="ADAL" clId="{94C75531-61D8-4434-AC2E-38CD63001C93}" dt="2025-10-15T05:08:38.703" v="710"/>
          <ac:graphicFrameMkLst>
            <pc:docMk/>
            <pc:sldMk cId="1922330044" sldId="422"/>
            <ac:graphicFrameMk id="9" creationId="{F03995BC-29D0-4E6A-BFF5-11D96269F4DB}"/>
          </ac:graphicFrameMkLst>
        </pc:graphicFrameChg>
        <pc:graphicFrameChg chg="mod">
          <ac:chgData name="Prakash B, Bhanu" userId="673c8836-55e7-400d-a49c-1e24023dc72b" providerId="ADAL" clId="{94C75531-61D8-4434-AC2E-38CD63001C93}" dt="2025-10-15T05:08:38.703" v="710"/>
          <ac:graphicFrameMkLst>
            <pc:docMk/>
            <pc:sldMk cId="1922330044" sldId="422"/>
            <ac:graphicFrameMk id="10" creationId="{A136E734-C42E-447A-AF9C-FCB8EC38D4D1}"/>
          </ac:graphicFrameMkLst>
        </pc:graphicFrameChg>
      </pc:sldChg>
      <pc:sldChg chg="modSp del">
        <pc:chgData name="Prakash B, Bhanu" userId="673c8836-55e7-400d-a49c-1e24023dc72b" providerId="ADAL" clId="{94C75531-61D8-4434-AC2E-38CD63001C93}" dt="2025-10-15T05:20:24.126" v="819" actId="47"/>
        <pc:sldMkLst>
          <pc:docMk/>
          <pc:sldMk cId="2587465870" sldId="423"/>
        </pc:sldMkLst>
        <pc:graphicFrameChg chg="mod">
          <ac:chgData name="Prakash B, Bhanu" userId="673c8836-55e7-400d-a49c-1e24023dc72b" providerId="ADAL" clId="{94C75531-61D8-4434-AC2E-38CD63001C93}" dt="2025-10-15T05:08:38.703" v="710"/>
          <ac:graphicFrameMkLst>
            <pc:docMk/>
            <pc:sldMk cId="2587465870" sldId="423"/>
            <ac:graphicFrameMk id="7" creationId="{6B4AC99C-F539-4865-94C6-D0BA014BCAC3}"/>
          </ac:graphicFrameMkLst>
        </pc:graphicFrameChg>
        <pc:graphicFrameChg chg="mod">
          <ac:chgData name="Prakash B, Bhanu" userId="673c8836-55e7-400d-a49c-1e24023dc72b" providerId="ADAL" clId="{94C75531-61D8-4434-AC2E-38CD63001C93}" dt="2025-10-15T05:08:38.703" v="710"/>
          <ac:graphicFrameMkLst>
            <pc:docMk/>
            <pc:sldMk cId="2587465870" sldId="423"/>
            <ac:graphicFrameMk id="8" creationId="{6C3D3070-46AD-4C9D-BD4D-C00269C7D3D9}"/>
          </ac:graphicFrameMkLst>
        </pc:graphicFrameChg>
      </pc:sldChg>
      <pc:sldChg chg="addSp delSp modSp add mod">
        <pc:chgData name="Prakash B, Bhanu" userId="673c8836-55e7-400d-a49c-1e24023dc72b" providerId="ADAL" clId="{94C75531-61D8-4434-AC2E-38CD63001C93}" dt="2025-10-15T05:22:47.730" v="844" actId="6549"/>
        <pc:sldMkLst>
          <pc:docMk/>
          <pc:sldMk cId="4085454253" sldId="424"/>
        </pc:sldMkLst>
        <pc:spChg chg="mod">
          <ac:chgData name="Prakash B, Bhanu" userId="673c8836-55e7-400d-a49c-1e24023dc72b" providerId="ADAL" clId="{94C75531-61D8-4434-AC2E-38CD63001C93}" dt="2025-10-15T05:16:39.659" v="749"/>
          <ac:spMkLst>
            <pc:docMk/>
            <pc:sldMk cId="4085454253" sldId="424"/>
            <ac:spMk id="4" creationId="{0F9DA22C-145E-5058-7D25-FC8BBB5BA1AD}"/>
          </ac:spMkLst>
        </pc:spChg>
        <pc:spChg chg="mod">
          <ac:chgData name="Prakash B, Bhanu" userId="673c8836-55e7-400d-a49c-1e24023dc72b" providerId="ADAL" clId="{94C75531-61D8-4434-AC2E-38CD63001C93}" dt="2025-10-15T05:22:33.645" v="835" actId="6549"/>
          <ac:spMkLst>
            <pc:docMk/>
            <pc:sldMk cId="4085454253" sldId="424"/>
            <ac:spMk id="6" creationId="{2BEE9AAA-FDDA-963B-42FD-289C91BD5D00}"/>
          </ac:spMkLst>
        </pc:spChg>
        <pc:spChg chg="mod">
          <ac:chgData name="Prakash B, Bhanu" userId="673c8836-55e7-400d-a49c-1e24023dc72b" providerId="ADAL" clId="{94C75531-61D8-4434-AC2E-38CD63001C93}" dt="2025-10-15T05:22:41.276" v="841" actId="6549"/>
          <ac:spMkLst>
            <pc:docMk/>
            <pc:sldMk cId="4085454253" sldId="424"/>
            <ac:spMk id="7" creationId="{E1D7A544-E818-2B81-C311-67FE0D746EEB}"/>
          </ac:spMkLst>
        </pc:spChg>
        <pc:spChg chg="mod">
          <ac:chgData name="Prakash B, Bhanu" userId="673c8836-55e7-400d-a49c-1e24023dc72b" providerId="ADAL" clId="{94C75531-61D8-4434-AC2E-38CD63001C93}" dt="2025-10-15T05:22:47.730" v="844" actId="6549"/>
          <ac:spMkLst>
            <pc:docMk/>
            <pc:sldMk cId="4085454253" sldId="424"/>
            <ac:spMk id="8" creationId="{9A28A9A9-3102-18D1-C5E8-13FA15B99FE2}"/>
          </ac:spMkLst>
        </pc:spChg>
        <pc:spChg chg="del">
          <ac:chgData name="Prakash B, Bhanu" userId="673c8836-55e7-400d-a49c-1e24023dc72b" providerId="ADAL" clId="{94C75531-61D8-4434-AC2E-38CD63001C93}" dt="2025-10-15T05:18:35.199" v="775" actId="478"/>
          <ac:spMkLst>
            <pc:docMk/>
            <pc:sldMk cId="4085454253" sldId="424"/>
            <ac:spMk id="10" creationId="{C1A0E254-EE06-7029-FA86-47DF97C1F133}"/>
          </ac:spMkLst>
        </pc:spChg>
        <pc:picChg chg="add mod">
          <ac:chgData name="Prakash B, Bhanu" userId="673c8836-55e7-400d-a49c-1e24023dc72b" providerId="ADAL" clId="{94C75531-61D8-4434-AC2E-38CD63001C93}" dt="2025-10-15T05:19:43.702" v="785" actId="1076"/>
          <ac:picMkLst>
            <pc:docMk/>
            <pc:sldMk cId="4085454253" sldId="424"/>
            <ac:picMk id="3" creationId="{62C116A6-C32B-FC2F-99DE-6F07FE66F488}"/>
          </ac:picMkLst>
        </pc:picChg>
        <pc:picChg chg="del">
          <ac:chgData name="Prakash B, Bhanu" userId="673c8836-55e7-400d-a49c-1e24023dc72b" providerId="ADAL" clId="{94C75531-61D8-4434-AC2E-38CD63001C93}" dt="2025-10-15T05:17:15.900" v="761" actId="478"/>
          <ac:picMkLst>
            <pc:docMk/>
            <pc:sldMk cId="4085454253" sldId="424"/>
            <ac:picMk id="12" creationId="{945C78A4-BE93-2BFE-B7B3-A4498E91B0D6}"/>
          </ac:picMkLst>
        </pc:picChg>
        <pc:picChg chg="del">
          <ac:chgData name="Prakash B, Bhanu" userId="673c8836-55e7-400d-a49c-1e24023dc72b" providerId="ADAL" clId="{94C75531-61D8-4434-AC2E-38CD63001C93}" dt="2025-10-15T05:17:14.309" v="759" actId="478"/>
          <ac:picMkLst>
            <pc:docMk/>
            <pc:sldMk cId="4085454253" sldId="424"/>
            <ac:picMk id="14" creationId="{9AC06516-0109-EBC8-BC31-0E4E5770CD90}"/>
          </ac:picMkLst>
        </pc:picChg>
        <pc:picChg chg="del">
          <ac:chgData name="Prakash B, Bhanu" userId="673c8836-55e7-400d-a49c-1e24023dc72b" providerId="ADAL" clId="{94C75531-61D8-4434-AC2E-38CD63001C93}" dt="2025-10-15T05:17:13.102" v="758" actId="478"/>
          <ac:picMkLst>
            <pc:docMk/>
            <pc:sldMk cId="4085454253" sldId="424"/>
            <ac:picMk id="16" creationId="{33EA81E6-9063-7F39-5575-B505BFAF14F0}"/>
          </ac:picMkLst>
        </pc:picChg>
        <pc:picChg chg="del">
          <ac:chgData name="Prakash B, Bhanu" userId="673c8836-55e7-400d-a49c-1e24023dc72b" providerId="ADAL" clId="{94C75531-61D8-4434-AC2E-38CD63001C93}" dt="2025-10-15T05:17:15.260" v="760" actId="478"/>
          <ac:picMkLst>
            <pc:docMk/>
            <pc:sldMk cId="4085454253" sldId="424"/>
            <ac:picMk id="73730" creationId="{88869F01-BD53-60F2-E05F-0C1E502983B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10/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10/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9.xm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chemeClr val="accent3"/>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 1 (presentation)">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bg1"/>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39738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3296800" cy="542875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6247668"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6343418"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760396" y="-2458091"/>
            <a:ext cx="9115703" cy="9516479"/>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pic>
        <p:nvPicPr>
          <p:cNvPr id="20" name="Image 19">
            <a:extLst>
              <a:ext uri="{FF2B5EF4-FFF2-40B4-BE49-F238E27FC236}">
                <a16:creationId xmlns:a16="http://schemas.microsoft.com/office/drawing/2014/main" id="{557F3EC6-6AB7-49CB-8BF2-B714521A094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
        <p:nvSpPr>
          <p:cNvPr id="11" name="Title 1"/>
          <p:cNvSpPr>
            <a:spLocks noGrp="1"/>
          </p:cNvSpPr>
          <p:nvPr>
            <p:ph type="ctrTitle" hasCustomPrompt="1"/>
          </p:nvPr>
        </p:nvSpPr>
        <p:spPr>
          <a:xfrm>
            <a:off x="5591944" y="253648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12" name="Subtitle 2"/>
          <p:cNvSpPr>
            <a:spLocks noGrp="1"/>
          </p:cNvSpPr>
          <p:nvPr>
            <p:ph type="subTitle" idx="1" hasCustomPrompt="1"/>
          </p:nvPr>
        </p:nvSpPr>
        <p:spPr>
          <a:xfrm>
            <a:off x="5591944" y="4365277"/>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0" y="-583910"/>
            <a:ext cx="8184232" cy="744191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5" y="3502732"/>
            <a:ext cx="3558066"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637310" y="5571206"/>
            <a:ext cx="3558066"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8" name="Image 17">
            <a:extLst>
              <a:ext uri="{FF2B5EF4-FFF2-40B4-BE49-F238E27FC236}">
                <a16:creationId xmlns:a16="http://schemas.microsoft.com/office/drawing/2014/main" id="{9B094B5A-7617-4918-B4B1-E58924F906A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Tree>
    <p:extLst>
      <p:ext uri="{BB962C8B-B14F-4D97-AF65-F5344CB8AC3E}">
        <p14:creationId xmlns:p14="http://schemas.microsoft.com/office/powerpoint/2010/main" val="394447559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1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34698141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1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userDrawn="1"/>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spTree>
    <p:extLst>
      <p:ext uri="{BB962C8B-B14F-4D97-AF65-F5344CB8AC3E}">
        <p14:creationId xmlns:p14="http://schemas.microsoft.com/office/powerpoint/2010/main" val="4160760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7.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oleObject" Target="../embeddings/oleObject8.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11.xml"/><Relationship Id="rId5" Type="http://schemas.openxmlformats.org/officeDocument/2006/relationships/theme" Target="../theme/theme3.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3"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 id="2147483885"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80" r:id="rId1"/>
    <p:sldLayoutId id="2147483841" r:id="rId2"/>
    <p:sldLayoutId id="2147483839" r:id="rId3"/>
    <p:sldLayoutId id="2147483890"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88" r:id="rId1"/>
    <p:sldLayoutId id="2147483889"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93464A-4C8A-423D-ADBD-B1151BF81CE8}"/>
              </a:ext>
            </a:extLst>
          </p:cNvPr>
          <p:cNvSpPr>
            <a:spLocks noGrp="1"/>
          </p:cNvSpPr>
          <p:nvPr>
            <p:ph type="body" sz="quarter" idx="11"/>
          </p:nvPr>
        </p:nvSpPr>
        <p:spPr>
          <a:xfrm>
            <a:off x="308834" y="3573016"/>
            <a:ext cx="5768341" cy="2058654"/>
          </a:xfrm>
        </p:spPr>
        <p:txBody>
          <a:bodyPr/>
          <a:lstStyle/>
          <a:p>
            <a:r>
              <a:rPr lang="en-US" dirty="0"/>
              <a:t>Current Trends on Wearable Devices</a:t>
            </a:r>
          </a:p>
        </p:txBody>
      </p:sp>
      <p:sp>
        <p:nvSpPr>
          <p:cNvPr id="3" name="Sous-titre 2">
            <a:extLst>
              <a:ext uri="{FF2B5EF4-FFF2-40B4-BE49-F238E27FC236}">
                <a16:creationId xmlns:a16="http://schemas.microsoft.com/office/drawing/2014/main" id="{57A45627-AC2A-46AA-8765-92D71861F45D}"/>
              </a:ext>
            </a:extLst>
          </p:cNvPr>
          <p:cNvSpPr>
            <a:spLocks noGrp="1"/>
          </p:cNvSpPr>
          <p:nvPr>
            <p:ph type="subTitle" idx="1"/>
          </p:nvPr>
        </p:nvSpPr>
        <p:spPr>
          <a:xfrm>
            <a:off x="479376" y="5229200"/>
            <a:ext cx="3558066" cy="682984"/>
          </a:xfrm>
        </p:spPr>
        <p:txBody>
          <a:bodyPr/>
          <a:lstStyle/>
          <a:p>
            <a:pPr algn="l"/>
            <a:r>
              <a:rPr lang="en-US" dirty="0"/>
              <a:t>15 Oct 2025, Bhanu Prakash B</a:t>
            </a:r>
          </a:p>
          <a:p>
            <a:pPr algn="l"/>
            <a:r>
              <a:rPr lang="en-US" dirty="0"/>
              <a:t>bhanu.b@capgemini.com</a:t>
            </a:r>
          </a:p>
          <a:p>
            <a:pPr algn="l"/>
            <a:endParaRPr lang="en-US" dirty="0"/>
          </a:p>
        </p:txBody>
      </p:sp>
    </p:spTree>
    <p:extLst>
      <p:ext uri="{BB962C8B-B14F-4D97-AF65-F5344CB8AC3E}">
        <p14:creationId xmlns:p14="http://schemas.microsoft.com/office/powerpoint/2010/main" val="336799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538346" y="277004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dirty="0"/>
              <a:t>Agenda</a:t>
            </a:r>
            <a:endParaRPr lang="en-GB" dirty="0"/>
          </a:p>
        </p:txBody>
      </p:sp>
      <p:sp>
        <p:nvSpPr>
          <p:cNvPr id="16" name="Text Placeholder 15"/>
          <p:cNvSpPr>
            <a:spLocks noGrp="1"/>
          </p:cNvSpPr>
          <p:nvPr>
            <p:ph type="body" sz="quarter" idx="38"/>
          </p:nvPr>
        </p:nvSpPr>
        <p:spPr/>
        <p:txBody>
          <a:bodyPr/>
          <a:lstStyle/>
          <a:p>
            <a:r>
              <a:rPr lang="pt-PT" dirty="0"/>
              <a:t>Wearable Devices Session with First Year Engineering Students, VIT – 90 Minutes </a:t>
            </a:r>
          </a:p>
        </p:txBody>
      </p:sp>
      <p:sp>
        <p:nvSpPr>
          <p:cNvPr id="7" name="Text Placeholder 6"/>
          <p:cNvSpPr>
            <a:spLocks noGrp="1"/>
          </p:cNvSpPr>
          <p:nvPr>
            <p:ph type="body" sz="quarter" idx="29"/>
          </p:nvPr>
        </p:nvSpPr>
        <p:spPr/>
        <p:txBody>
          <a:bodyPr/>
          <a:lstStyle/>
          <a:p>
            <a:pPr lvl="0"/>
            <a:r>
              <a:rPr lang="en-US" dirty="0"/>
              <a:t>Wearables Intro – 60 Minutes</a:t>
            </a:r>
          </a:p>
        </p:txBody>
      </p:sp>
      <p:sp>
        <p:nvSpPr>
          <p:cNvPr id="8" name="Text Placeholder 7"/>
          <p:cNvSpPr>
            <a:spLocks noGrp="1"/>
          </p:cNvSpPr>
          <p:nvPr>
            <p:ph type="body" sz="quarter" idx="30"/>
          </p:nvPr>
        </p:nvSpPr>
        <p:spPr/>
        <p:txBody>
          <a:bodyPr/>
          <a:lstStyle/>
          <a:p>
            <a:pPr marL="179388" lvl="1"/>
            <a:r>
              <a:rPr lang="en-US" dirty="0"/>
              <a:t>What are wearable devices?</a:t>
            </a:r>
          </a:p>
          <a:p>
            <a:pPr marL="179388" lvl="1"/>
            <a:r>
              <a:rPr lang="en-US" dirty="0"/>
              <a:t>Evolution and History</a:t>
            </a:r>
          </a:p>
          <a:p>
            <a:pPr marL="179388" lvl="1"/>
            <a:r>
              <a:rPr lang="en-US" dirty="0"/>
              <a:t>Key Components</a:t>
            </a:r>
          </a:p>
          <a:p>
            <a:pPr marL="179388" lvl="1"/>
            <a:r>
              <a:rPr lang="en-IN" dirty="0"/>
              <a:t>AI and Machine Learning Integration</a:t>
            </a:r>
            <a:endParaRPr lang="en-US" dirty="0"/>
          </a:p>
          <a:p>
            <a:pPr marL="179388" lvl="1"/>
            <a:endParaRPr lang="en-GB" dirty="0"/>
          </a:p>
        </p:txBody>
      </p:sp>
      <p:sp>
        <p:nvSpPr>
          <p:cNvPr id="9" name="Text Placeholder 8"/>
          <p:cNvSpPr>
            <a:spLocks noGrp="1"/>
          </p:cNvSpPr>
          <p:nvPr>
            <p:ph type="body" sz="quarter" idx="31"/>
          </p:nvPr>
        </p:nvSpPr>
        <p:spPr>
          <a:xfrm>
            <a:off x="6956123" y="2636912"/>
            <a:ext cx="4020458" cy="412363"/>
          </a:xfrm>
        </p:spPr>
        <p:txBody>
          <a:bodyPr/>
          <a:lstStyle/>
          <a:p>
            <a:pPr lvl="0"/>
            <a:r>
              <a:rPr lang="en-US" dirty="0"/>
              <a:t>Q&amp;A and Interaction – 30 Minutes</a:t>
            </a:r>
          </a:p>
        </p:txBody>
      </p:sp>
      <p:sp>
        <p:nvSpPr>
          <p:cNvPr id="10" name="Text Placeholder 9"/>
          <p:cNvSpPr>
            <a:spLocks noGrp="1"/>
          </p:cNvSpPr>
          <p:nvPr>
            <p:ph type="body" sz="quarter" idx="32"/>
          </p:nvPr>
        </p:nvSpPr>
        <p:spPr>
          <a:xfrm>
            <a:off x="6956124" y="3055867"/>
            <a:ext cx="4020458" cy="1177616"/>
          </a:xfrm>
        </p:spPr>
        <p:txBody>
          <a:bodyPr/>
          <a:lstStyle/>
          <a:p>
            <a:pPr marL="179388" lvl="1"/>
            <a:r>
              <a:rPr lang="en-US" dirty="0"/>
              <a:t>Q&amp;A</a:t>
            </a:r>
          </a:p>
          <a:p>
            <a:pPr marL="179388" lvl="1"/>
            <a:r>
              <a:rPr lang="en-US" dirty="0"/>
              <a:t>Interaction</a:t>
            </a:r>
          </a:p>
          <a:p>
            <a:pPr marL="179388" lvl="1"/>
            <a:endParaRPr lang="en-US" dirty="0"/>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5" name="Text Placeholder 14"/>
          <p:cNvSpPr>
            <a:spLocks noGrp="1"/>
          </p:cNvSpPr>
          <p:nvPr>
            <p:ph type="body" sz="quarter" idx="37"/>
          </p:nvPr>
        </p:nvSpPr>
        <p:spPr>
          <a:xfrm>
            <a:off x="5688627" y="3097491"/>
            <a:ext cx="863263" cy="482705"/>
          </a:xfrm>
        </p:spPr>
        <p:txBody>
          <a:bodyPr/>
          <a:lstStyle/>
          <a:p>
            <a:r>
              <a:rPr lang="en-GB" dirty="0"/>
              <a:t>02</a:t>
            </a:r>
          </a:p>
        </p:txBody>
      </p:sp>
    </p:spTree>
    <p:extLst>
      <p:ext uri="{BB962C8B-B14F-4D97-AF65-F5344CB8AC3E}">
        <p14:creationId xmlns:p14="http://schemas.microsoft.com/office/powerpoint/2010/main" val="2200284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are Wearable Devices?</a:t>
            </a:r>
            <a:endParaRPr lang="en-GB" dirty="0"/>
          </a:p>
        </p:txBody>
      </p:sp>
      <p:sp>
        <p:nvSpPr>
          <p:cNvPr id="5" name="Text Placeholder 4"/>
          <p:cNvSpPr>
            <a:spLocks noGrp="1"/>
          </p:cNvSpPr>
          <p:nvPr>
            <p:ph type="body" sz="quarter" idx="10"/>
          </p:nvPr>
        </p:nvSpPr>
        <p:spPr>
          <a:xfrm>
            <a:off x="695400" y="948726"/>
            <a:ext cx="10550474" cy="1060404"/>
          </a:xfrm>
        </p:spPr>
        <p:txBody>
          <a:bodyPr/>
          <a:lstStyle/>
          <a:p>
            <a:r>
              <a:rPr lang="en-IN" dirty="0"/>
              <a:t>Electronic devices that can be worn on the body, either as accessories or embedded in clothing, that perform useful computing tasks.</a:t>
            </a:r>
            <a:endParaRPr lang="en-GB" dirty="0"/>
          </a:p>
        </p:txBody>
      </p:sp>
      <p:sp>
        <p:nvSpPr>
          <p:cNvPr id="8" name="Text Placeholder 4">
            <a:extLst>
              <a:ext uri="{FF2B5EF4-FFF2-40B4-BE49-F238E27FC236}">
                <a16:creationId xmlns:a16="http://schemas.microsoft.com/office/drawing/2014/main" id="{0C07043F-366C-442F-BE52-501E8DF6C947}"/>
              </a:ext>
            </a:extLst>
          </p:cNvPr>
          <p:cNvSpPr txBox="1">
            <a:spLocks/>
          </p:cNvSpPr>
          <p:nvPr/>
        </p:nvSpPr>
        <p:spPr>
          <a:xfrm>
            <a:off x="683648" y="4310040"/>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Key Characteristics</a:t>
            </a:r>
          </a:p>
          <a:p>
            <a:pPr lvl="2"/>
            <a:r>
              <a:rPr lang="en-IN" dirty="0"/>
              <a:t>Portable and hands free</a:t>
            </a:r>
          </a:p>
          <a:p>
            <a:pPr lvl="2"/>
            <a:r>
              <a:rPr lang="en-IN" dirty="0"/>
              <a:t>Continuous operation</a:t>
            </a:r>
          </a:p>
          <a:p>
            <a:pPr lvl="2"/>
            <a:r>
              <a:rPr lang="en-IN" dirty="0"/>
              <a:t>Connected to other devices</a:t>
            </a:r>
          </a:p>
          <a:p>
            <a:pPr lvl="2"/>
            <a:r>
              <a:rPr lang="en-IN" dirty="0"/>
              <a:t>Context aware</a:t>
            </a:r>
          </a:p>
          <a:p>
            <a:pPr lvl="2"/>
            <a:r>
              <a:rPr lang="en-IN" dirty="0"/>
              <a:t>User centric design</a:t>
            </a:r>
            <a:endParaRPr lang="en-US" dirty="0"/>
          </a:p>
          <a:p>
            <a:pPr lvl="1">
              <a:buFont typeface="Wingdings" panose="05000000000000000000" pitchFamily="2" charset="2"/>
              <a:buNone/>
            </a:pPr>
            <a:endParaRPr lang="en-US" dirty="0"/>
          </a:p>
          <a:p>
            <a:endParaRPr lang="en-GB" dirty="0"/>
          </a:p>
        </p:txBody>
      </p:sp>
      <p:pic>
        <p:nvPicPr>
          <p:cNvPr id="3" name="Picture 2" descr="Person in headphones checking smartwatch">
            <a:extLst>
              <a:ext uri="{FF2B5EF4-FFF2-40B4-BE49-F238E27FC236}">
                <a16:creationId xmlns:a16="http://schemas.microsoft.com/office/drawing/2014/main" id="{F0A166D1-5F11-77D3-E03F-C1F01E3C14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2445" y="1852956"/>
            <a:ext cx="3456384" cy="2304256"/>
          </a:xfrm>
          <a:prstGeom prst="rect">
            <a:avLst/>
          </a:prstGeom>
        </p:spPr>
      </p:pic>
      <p:sp>
        <p:nvSpPr>
          <p:cNvPr id="6" name="Text Placeholder 4">
            <a:extLst>
              <a:ext uri="{FF2B5EF4-FFF2-40B4-BE49-F238E27FC236}">
                <a16:creationId xmlns:a16="http://schemas.microsoft.com/office/drawing/2014/main" id="{CA4CF851-9796-9A5D-B2D3-40E7EE73DD70}"/>
              </a:ext>
            </a:extLst>
          </p:cNvPr>
          <p:cNvSpPr txBox="1">
            <a:spLocks/>
          </p:cNvSpPr>
          <p:nvPr/>
        </p:nvSpPr>
        <p:spPr>
          <a:xfrm>
            <a:off x="7896200" y="4310040"/>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Common Examples</a:t>
            </a:r>
          </a:p>
          <a:p>
            <a:pPr lvl="2"/>
            <a:r>
              <a:rPr lang="en-IN" dirty="0"/>
              <a:t>Smartwatches</a:t>
            </a:r>
          </a:p>
          <a:p>
            <a:pPr lvl="2"/>
            <a:r>
              <a:rPr lang="en-IN" dirty="0"/>
              <a:t>Fitness trackers</a:t>
            </a:r>
          </a:p>
          <a:p>
            <a:pPr lvl="2"/>
            <a:r>
              <a:rPr lang="en-IN" dirty="0"/>
              <a:t>Smart glasses</a:t>
            </a:r>
          </a:p>
          <a:p>
            <a:pPr lvl="2"/>
            <a:r>
              <a:rPr lang="en-IN" dirty="0"/>
              <a:t>Smart rings</a:t>
            </a:r>
          </a:p>
          <a:p>
            <a:pPr lvl="2"/>
            <a:r>
              <a:rPr lang="en-IN" dirty="0"/>
              <a:t>Health monitors</a:t>
            </a:r>
          </a:p>
          <a:p>
            <a:pPr lvl="2"/>
            <a:r>
              <a:rPr lang="en-IN" dirty="0"/>
              <a:t>Smart clothing</a:t>
            </a:r>
          </a:p>
          <a:p>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volution and History</a:t>
            </a:r>
            <a:endParaRPr lang="en-GB" dirty="0"/>
          </a:p>
        </p:txBody>
      </p:sp>
      <p:sp>
        <p:nvSpPr>
          <p:cNvPr id="5" name="Text Placeholder 4"/>
          <p:cNvSpPr>
            <a:spLocks noGrp="1"/>
          </p:cNvSpPr>
          <p:nvPr>
            <p:ph type="body" sz="quarter" idx="10"/>
          </p:nvPr>
        </p:nvSpPr>
        <p:spPr>
          <a:xfrm>
            <a:off x="227349" y="1484784"/>
            <a:ext cx="6228692" cy="4466201"/>
          </a:xfrm>
        </p:spPr>
        <p:txBody>
          <a:bodyPr/>
          <a:lstStyle/>
          <a:p>
            <a:pPr marL="342900" indent="-342900">
              <a:buFont typeface="Arial" panose="020B0604020202020204" pitchFamily="34" charset="0"/>
              <a:buChar char="•"/>
            </a:pPr>
            <a:r>
              <a:rPr lang="en-GB" dirty="0" err="1"/>
              <a:t>1960s</a:t>
            </a:r>
            <a:r>
              <a:rPr lang="en-GB" dirty="0"/>
              <a:t> </a:t>
            </a:r>
            <a:r>
              <a:rPr lang="en-GB" dirty="0" err="1"/>
              <a:t>1980s</a:t>
            </a:r>
            <a:r>
              <a:rPr lang="en-GB" dirty="0"/>
              <a:t>:</a:t>
            </a:r>
          </a:p>
          <a:p>
            <a:pPr marL="609600" lvl="1" indent="-342900">
              <a:buFont typeface="Arial" panose="020B0604020202020204" pitchFamily="34" charset="0"/>
              <a:buChar char="•"/>
            </a:pPr>
            <a:r>
              <a:rPr lang="en-GB" dirty="0"/>
              <a:t>Calculator watches, digital watches</a:t>
            </a:r>
          </a:p>
          <a:p>
            <a:pPr marL="342900" indent="-342900">
              <a:buFont typeface="Arial" panose="020B0604020202020204" pitchFamily="34" charset="0"/>
              <a:buChar char="•"/>
            </a:pPr>
            <a:r>
              <a:rPr lang="en-GB" dirty="0" err="1"/>
              <a:t>1990s</a:t>
            </a:r>
            <a:r>
              <a:rPr lang="en-GB" dirty="0"/>
              <a:t> </a:t>
            </a:r>
            <a:r>
              <a:rPr lang="en-GB" dirty="0" err="1"/>
              <a:t>2000s</a:t>
            </a:r>
            <a:r>
              <a:rPr lang="en-GB" dirty="0"/>
              <a:t>:</a:t>
            </a:r>
          </a:p>
          <a:p>
            <a:pPr marL="609600" lvl="1" indent="-342900">
              <a:buFont typeface="Arial" panose="020B0604020202020204" pitchFamily="34" charset="0"/>
              <a:buChar char="•"/>
            </a:pPr>
            <a:r>
              <a:rPr lang="en-GB" dirty="0"/>
              <a:t>Bluetooth headsets, early fitness trackers (pedometers)</a:t>
            </a:r>
          </a:p>
          <a:p>
            <a:pPr marL="342900" indent="-342900">
              <a:buFont typeface="Arial" panose="020B0604020202020204" pitchFamily="34" charset="0"/>
              <a:buChar char="•"/>
            </a:pPr>
            <a:r>
              <a:rPr lang="en-GB" dirty="0"/>
              <a:t>2010 2015:</a:t>
            </a:r>
          </a:p>
          <a:p>
            <a:pPr marL="609600" lvl="1" indent="-342900">
              <a:buFont typeface="Arial" panose="020B0604020202020204" pitchFamily="34" charset="0"/>
              <a:buChar char="•"/>
            </a:pPr>
            <a:r>
              <a:rPr lang="en-GB" dirty="0"/>
              <a:t>Fitbit, Pebble smartwatch, Google Glass, Apple Watch</a:t>
            </a:r>
          </a:p>
          <a:p>
            <a:pPr marL="342900" indent="-342900">
              <a:buFont typeface="Arial" panose="020B0604020202020204" pitchFamily="34" charset="0"/>
              <a:buChar char="•"/>
            </a:pPr>
            <a:r>
              <a:rPr lang="en-GB" dirty="0"/>
              <a:t>2016 2020:</a:t>
            </a:r>
          </a:p>
          <a:p>
            <a:pPr marL="609600" lvl="1" indent="-342900">
              <a:buFont typeface="Arial" panose="020B0604020202020204" pitchFamily="34" charset="0"/>
              <a:buChar char="•"/>
            </a:pPr>
            <a:r>
              <a:rPr lang="en-GB" dirty="0"/>
              <a:t>Advanced health monitoring, ECG sensors, continuous glucose monitors</a:t>
            </a:r>
          </a:p>
          <a:p>
            <a:pPr marL="342900" indent="-342900">
              <a:buFont typeface="Arial" panose="020B0604020202020204" pitchFamily="34" charset="0"/>
              <a:buChar char="•"/>
            </a:pPr>
            <a:r>
              <a:rPr lang="en-GB" dirty="0"/>
              <a:t>2021 Present:</a:t>
            </a:r>
          </a:p>
          <a:p>
            <a:pPr marL="609600" lvl="1" indent="-342900">
              <a:buFont typeface="Arial" panose="020B0604020202020204" pitchFamily="34" charset="0"/>
              <a:buChar char="•"/>
            </a:pPr>
            <a:r>
              <a:rPr lang="en-GB" dirty="0"/>
              <a:t>AI integration, advanced biometrics, AR glasses, brain computer interfaces</a:t>
            </a:r>
          </a:p>
        </p:txBody>
      </p:sp>
      <p:pic>
        <p:nvPicPr>
          <p:cNvPr id="3" name="Picture 2" descr="Person using virtual reality headset">
            <a:extLst>
              <a:ext uri="{FF2B5EF4-FFF2-40B4-BE49-F238E27FC236}">
                <a16:creationId xmlns:a16="http://schemas.microsoft.com/office/drawing/2014/main" id="{A19C3486-3864-A210-8B49-99D4BC585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0176" y="1104900"/>
            <a:ext cx="3384376" cy="2256251"/>
          </a:xfrm>
          <a:prstGeom prst="rect">
            <a:avLst/>
          </a:prstGeom>
        </p:spPr>
      </p:pic>
      <p:pic>
        <p:nvPicPr>
          <p:cNvPr id="7" name="Picture 6" descr="Person wearing a smart watch">
            <a:extLst>
              <a:ext uri="{FF2B5EF4-FFF2-40B4-BE49-F238E27FC236}">
                <a16:creationId xmlns:a16="http://schemas.microsoft.com/office/drawing/2014/main" id="{71ECA748-B2F0-67EA-5E70-1C54B27B29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0177" y="3732827"/>
            <a:ext cx="3384376" cy="2257373"/>
          </a:xfrm>
          <a:prstGeom prst="rect">
            <a:avLst/>
          </a:prstGeom>
        </p:spPr>
      </p:pic>
    </p:spTree>
    <p:extLst>
      <p:ext uri="{BB962C8B-B14F-4D97-AF65-F5344CB8AC3E}">
        <p14:creationId xmlns:p14="http://schemas.microsoft.com/office/powerpoint/2010/main" val="3422546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Key Components</a:t>
            </a:r>
            <a:endParaRPr lang="en-GB" dirty="0"/>
          </a:p>
        </p:txBody>
      </p:sp>
      <p:sp>
        <p:nvSpPr>
          <p:cNvPr id="6" name="Text Placeholder 4">
            <a:extLst>
              <a:ext uri="{FF2B5EF4-FFF2-40B4-BE49-F238E27FC236}">
                <a16:creationId xmlns:a16="http://schemas.microsoft.com/office/drawing/2014/main" id="{BA70DF08-7191-7FD1-95B3-AEB88B2A07DD}"/>
              </a:ext>
            </a:extLst>
          </p:cNvPr>
          <p:cNvSpPr txBox="1">
            <a:spLocks/>
          </p:cNvSpPr>
          <p:nvPr/>
        </p:nvSpPr>
        <p:spPr>
          <a:xfrm>
            <a:off x="407368" y="1772816"/>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Processing</a:t>
            </a:r>
          </a:p>
          <a:p>
            <a:pPr lvl="2"/>
            <a:r>
              <a:rPr lang="en-IN" dirty="0"/>
              <a:t>  Low power microcontrollers</a:t>
            </a:r>
          </a:p>
          <a:p>
            <a:pPr lvl="2"/>
            <a:r>
              <a:rPr lang="en-IN" dirty="0"/>
              <a:t>  Edge AI processors</a:t>
            </a:r>
          </a:p>
          <a:p>
            <a:pPr lvl="2"/>
            <a:r>
              <a:rPr lang="en-IN" dirty="0"/>
              <a:t>  System on Chip (SoC)</a:t>
            </a:r>
            <a:endParaRPr lang="en-US" dirty="0"/>
          </a:p>
          <a:p>
            <a:endParaRPr lang="en-GB" dirty="0"/>
          </a:p>
        </p:txBody>
      </p:sp>
      <p:sp>
        <p:nvSpPr>
          <p:cNvPr id="7" name="Text Placeholder 4">
            <a:extLst>
              <a:ext uri="{FF2B5EF4-FFF2-40B4-BE49-F238E27FC236}">
                <a16:creationId xmlns:a16="http://schemas.microsoft.com/office/drawing/2014/main" id="{720DC18A-3E9C-BFA7-05E6-449E565C7E00}"/>
              </a:ext>
            </a:extLst>
          </p:cNvPr>
          <p:cNvSpPr txBox="1">
            <a:spLocks/>
          </p:cNvSpPr>
          <p:nvPr/>
        </p:nvSpPr>
        <p:spPr>
          <a:xfrm>
            <a:off x="5988879" y="1732464"/>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Sensors</a:t>
            </a:r>
          </a:p>
          <a:p>
            <a:pPr lvl="2"/>
            <a:r>
              <a:rPr lang="en-IN" dirty="0"/>
              <a:t>  Accelerometer, gyroscope</a:t>
            </a:r>
          </a:p>
          <a:p>
            <a:pPr lvl="2"/>
            <a:r>
              <a:rPr lang="en-IN" dirty="0"/>
              <a:t>  Heart rate, </a:t>
            </a:r>
            <a:r>
              <a:rPr lang="en-IN" dirty="0" err="1"/>
              <a:t>SpO2</a:t>
            </a:r>
            <a:endParaRPr lang="en-IN" dirty="0"/>
          </a:p>
          <a:p>
            <a:pPr lvl="2"/>
            <a:r>
              <a:rPr lang="en-IN" dirty="0"/>
              <a:t>  Temperature, pressure</a:t>
            </a:r>
            <a:endParaRPr lang="en-US" dirty="0"/>
          </a:p>
          <a:p>
            <a:endParaRPr lang="en-GB" dirty="0"/>
          </a:p>
        </p:txBody>
      </p:sp>
      <p:sp>
        <p:nvSpPr>
          <p:cNvPr id="8" name="Text Placeholder 4">
            <a:extLst>
              <a:ext uri="{FF2B5EF4-FFF2-40B4-BE49-F238E27FC236}">
                <a16:creationId xmlns:a16="http://schemas.microsoft.com/office/drawing/2014/main" id="{A66B21A6-6BF7-E46B-B79F-0DDBF2AF4CA9}"/>
              </a:ext>
            </a:extLst>
          </p:cNvPr>
          <p:cNvSpPr txBox="1">
            <a:spLocks/>
          </p:cNvSpPr>
          <p:nvPr/>
        </p:nvSpPr>
        <p:spPr>
          <a:xfrm>
            <a:off x="623392" y="4149080"/>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Power</a:t>
            </a:r>
          </a:p>
          <a:p>
            <a:pPr lvl="2"/>
            <a:r>
              <a:rPr lang="en-IN" dirty="0"/>
              <a:t>  Lithium ion batteries</a:t>
            </a:r>
          </a:p>
          <a:p>
            <a:pPr lvl="2"/>
            <a:r>
              <a:rPr lang="en-IN" dirty="0"/>
              <a:t>  Energy harvesting</a:t>
            </a:r>
          </a:p>
          <a:p>
            <a:pPr lvl="2"/>
            <a:r>
              <a:rPr lang="en-IN" dirty="0"/>
              <a:t>  Wireless charging</a:t>
            </a:r>
            <a:endParaRPr lang="en-US" dirty="0"/>
          </a:p>
          <a:p>
            <a:endParaRPr lang="en-GB" dirty="0"/>
          </a:p>
        </p:txBody>
      </p:sp>
      <p:sp>
        <p:nvSpPr>
          <p:cNvPr id="10" name="Text Placeholder 4">
            <a:extLst>
              <a:ext uri="{FF2B5EF4-FFF2-40B4-BE49-F238E27FC236}">
                <a16:creationId xmlns:a16="http://schemas.microsoft.com/office/drawing/2014/main" id="{D265F622-5FB3-EC0C-D18B-B2B5F85793CD}"/>
              </a:ext>
            </a:extLst>
          </p:cNvPr>
          <p:cNvSpPr txBox="1">
            <a:spLocks/>
          </p:cNvSpPr>
          <p:nvPr/>
        </p:nvSpPr>
        <p:spPr>
          <a:xfrm>
            <a:off x="5947484" y="4149080"/>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Connectivity</a:t>
            </a:r>
          </a:p>
          <a:p>
            <a:pPr lvl="2"/>
            <a:r>
              <a:rPr lang="en-IN" dirty="0"/>
              <a:t>  Bluetooth Low Energy</a:t>
            </a:r>
          </a:p>
          <a:p>
            <a:pPr lvl="2"/>
            <a:r>
              <a:rPr lang="en-IN" dirty="0"/>
              <a:t>  Wi Fi, NFC</a:t>
            </a:r>
          </a:p>
          <a:p>
            <a:pPr lvl="2"/>
            <a:r>
              <a:rPr lang="en-IN" dirty="0"/>
              <a:t>  Cellular (LTE, </a:t>
            </a:r>
            <a:r>
              <a:rPr lang="en-IN" dirty="0" err="1"/>
              <a:t>5G</a:t>
            </a:r>
            <a:r>
              <a:rPr lang="en-IN" dirty="0"/>
              <a:t>)</a:t>
            </a:r>
            <a:endParaRPr lang="en-US" dirty="0"/>
          </a:p>
          <a:p>
            <a:endParaRPr lang="en-GB" dirty="0"/>
          </a:p>
        </p:txBody>
      </p:sp>
      <p:pic>
        <p:nvPicPr>
          <p:cNvPr id="12" name="Graphic 11" descr="Internet Of Things with solid fill">
            <a:extLst>
              <a:ext uri="{FF2B5EF4-FFF2-40B4-BE49-F238E27FC236}">
                <a16:creationId xmlns:a16="http://schemas.microsoft.com/office/drawing/2014/main" id="{1FEFDCBF-99A1-E3C8-076E-56ED5EACC1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84432" y="4355056"/>
            <a:ext cx="914400" cy="914400"/>
          </a:xfrm>
          <a:prstGeom prst="rect">
            <a:avLst/>
          </a:prstGeom>
        </p:spPr>
      </p:pic>
      <p:pic>
        <p:nvPicPr>
          <p:cNvPr id="14" name="Graphic 13" descr="Full battery outline">
            <a:extLst>
              <a:ext uri="{FF2B5EF4-FFF2-40B4-BE49-F238E27FC236}">
                <a16:creationId xmlns:a16="http://schemas.microsoft.com/office/drawing/2014/main" id="{B0A0DB74-A026-4C4A-F989-E93D7E8F9E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18832" y="4366496"/>
            <a:ext cx="914400" cy="914400"/>
          </a:xfrm>
          <a:prstGeom prst="rect">
            <a:avLst/>
          </a:prstGeom>
        </p:spPr>
      </p:pic>
      <p:pic>
        <p:nvPicPr>
          <p:cNvPr id="16" name="Graphic 15" descr="Processor outline">
            <a:extLst>
              <a:ext uri="{FF2B5EF4-FFF2-40B4-BE49-F238E27FC236}">
                <a16:creationId xmlns:a16="http://schemas.microsoft.com/office/drawing/2014/main" id="{3149FB6F-79F6-7804-73E4-208849FBD8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18832" y="2025522"/>
            <a:ext cx="914400" cy="914400"/>
          </a:xfrm>
          <a:prstGeom prst="rect">
            <a:avLst/>
          </a:prstGeom>
        </p:spPr>
      </p:pic>
      <p:pic>
        <p:nvPicPr>
          <p:cNvPr id="73730" name="Picture 2" descr="Sensor - Free technology icons">
            <a:extLst>
              <a:ext uri="{FF2B5EF4-FFF2-40B4-BE49-F238E27FC236}">
                <a16:creationId xmlns:a16="http://schemas.microsoft.com/office/drawing/2014/main" id="{FFCFC326-829C-01FE-C430-FBC3B1D5F3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77250" y="1491249"/>
            <a:ext cx="1528763" cy="1528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669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601C2-676A-530E-7915-FC01DBDAE3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9DA22C-145E-5058-7D25-FC8BBB5BA1AD}"/>
              </a:ext>
            </a:extLst>
          </p:cNvPr>
          <p:cNvSpPr>
            <a:spLocks noGrp="1"/>
          </p:cNvSpPr>
          <p:nvPr>
            <p:ph type="title"/>
          </p:nvPr>
        </p:nvSpPr>
        <p:spPr/>
        <p:txBody>
          <a:bodyPr/>
          <a:lstStyle/>
          <a:p>
            <a:r>
              <a:rPr lang="en-IN" dirty="0"/>
              <a:t>AI and Machine Learning Integration</a:t>
            </a:r>
            <a:endParaRPr lang="en-GB" dirty="0"/>
          </a:p>
        </p:txBody>
      </p:sp>
      <p:sp>
        <p:nvSpPr>
          <p:cNvPr id="6" name="Text Placeholder 4">
            <a:extLst>
              <a:ext uri="{FF2B5EF4-FFF2-40B4-BE49-F238E27FC236}">
                <a16:creationId xmlns:a16="http://schemas.microsoft.com/office/drawing/2014/main" id="{2BEE9AAA-FDDA-963B-42FD-289C91BD5D00}"/>
              </a:ext>
            </a:extLst>
          </p:cNvPr>
          <p:cNvSpPr txBox="1">
            <a:spLocks/>
          </p:cNvSpPr>
          <p:nvPr/>
        </p:nvSpPr>
        <p:spPr>
          <a:xfrm>
            <a:off x="479376" y="1353010"/>
            <a:ext cx="5760640"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Personalized Insights:</a:t>
            </a:r>
          </a:p>
          <a:p>
            <a:pPr lvl="2"/>
            <a:r>
              <a:rPr lang="en-IN" dirty="0"/>
              <a:t>Activity and sleep pattern recognition</a:t>
            </a:r>
          </a:p>
          <a:p>
            <a:pPr lvl="2"/>
            <a:r>
              <a:rPr lang="en-IN" dirty="0"/>
              <a:t>Predictive health alerts</a:t>
            </a:r>
          </a:p>
          <a:p>
            <a:pPr lvl="2"/>
            <a:r>
              <a:rPr lang="en-IN" dirty="0"/>
              <a:t>Adaptive coaching and recommendations</a:t>
            </a:r>
            <a:endParaRPr lang="en-GB" dirty="0"/>
          </a:p>
        </p:txBody>
      </p:sp>
      <p:sp>
        <p:nvSpPr>
          <p:cNvPr id="7" name="Text Placeholder 4">
            <a:extLst>
              <a:ext uri="{FF2B5EF4-FFF2-40B4-BE49-F238E27FC236}">
                <a16:creationId xmlns:a16="http://schemas.microsoft.com/office/drawing/2014/main" id="{E1D7A544-E818-2B81-C311-67FE0D746EEB}"/>
              </a:ext>
            </a:extLst>
          </p:cNvPr>
          <p:cNvSpPr txBox="1">
            <a:spLocks/>
          </p:cNvSpPr>
          <p:nvPr/>
        </p:nvSpPr>
        <p:spPr>
          <a:xfrm>
            <a:off x="479376" y="2957030"/>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Computer Vision</a:t>
            </a:r>
          </a:p>
          <a:p>
            <a:pPr lvl="2"/>
            <a:r>
              <a:rPr lang="en-IN" dirty="0"/>
              <a:t>Gesture recognition</a:t>
            </a:r>
          </a:p>
          <a:p>
            <a:pPr lvl="2"/>
            <a:r>
              <a:rPr lang="en-IN" dirty="0"/>
              <a:t>Object and face recognition</a:t>
            </a:r>
          </a:p>
          <a:p>
            <a:pPr lvl="2"/>
            <a:r>
              <a:rPr lang="en-IN" dirty="0"/>
              <a:t>Real-time scene understanding</a:t>
            </a:r>
            <a:endParaRPr lang="en-GB" dirty="0"/>
          </a:p>
        </p:txBody>
      </p:sp>
      <p:sp>
        <p:nvSpPr>
          <p:cNvPr id="8" name="Text Placeholder 4">
            <a:extLst>
              <a:ext uri="{FF2B5EF4-FFF2-40B4-BE49-F238E27FC236}">
                <a16:creationId xmlns:a16="http://schemas.microsoft.com/office/drawing/2014/main" id="{9A28A9A9-3102-18D1-C5E8-13FA15B99FE2}"/>
              </a:ext>
            </a:extLst>
          </p:cNvPr>
          <p:cNvSpPr txBox="1">
            <a:spLocks/>
          </p:cNvSpPr>
          <p:nvPr/>
        </p:nvSpPr>
        <p:spPr>
          <a:xfrm>
            <a:off x="502048" y="4653136"/>
            <a:ext cx="4193816" cy="254796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 Voice Assistants</a:t>
            </a:r>
          </a:p>
          <a:p>
            <a:pPr lvl="2"/>
            <a:r>
              <a:rPr lang="en-IN" dirty="0"/>
              <a:t>Hands-free control and queries</a:t>
            </a:r>
          </a:p>
          <a:p>
            <a:pPr lvl="2"/>
            <a:r>
              <a:rPr lang="en-IN" dirty="0"/>
              <a:t>Natural language processing</a:t>
            </a:r>
          </a:p>
          <a:p>
            <a:pPr lvl="2"/>
            <a:r>
              <a:rPr lang="en-IN" dirty="0"/>
              <a:t>Context-aware responses</a:t>
            </a:r>
            <a:endParaRPr lang="en-GB" dirty="0"/>
          </a:p>
        </p:txBody>
      </p:sp>
      <p:pic>
        <p:nvPicPr>
          <p:cNvPr id="3" name="Picture 2" descr="Person with VR headset">
            <a:extLst>
              <a:ext uri="{FF2B5EF4-FFF2-40B4-BE49-F238E27FC236}">
                <a16:creationId xmlns:a16="http://schemas.microsoft.com/office/drawing/2014/main" id="{62C116A6-C32B-FC2F-99DE-6F07FE66F4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01040" y="2098359"/>
            <a:ext cx="5112568" cy="3406631"/>
          </a:xfrm>
          <a:prstGeom prst="rect">
            <a:avLst/>
          </a:prstGeom>
        </p:spPr>
      </p:pic>
    </p:spTree>
    <p:extLst>
      <p:ext uri="{BB962C8B-B14F-4D97-AF65-F5344CB8AC3E}">
        <p14:creationId xmlns:p14="http://schemas.microsoft.com/office/powerpoint/2010/main" val="4085454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id="{303A75A8-FCE0-4121-B68F-DBCEADABDE77}"/>
              </a:ext>
            </a:extLst>
          </p:cNvPr>
          <p:cNvSpPr>
            <a:spLocks noGrp="1"/>
          </p:cNvSpPr>
          <p:nvPr>
            <p:ph type="pic" sz="quarter" idx="10"/>
          </p:nvPr>
        </p:nvSpPr>
        <p:spPr/>
        <p:txBody>
          <a:bodyPr/>
          <a:lstStyle/>
          <a:p>
            <a:endParaRPr lang="en-IN" dirty="0"/>
          </a:p>
        </p:txBody>
      </p:sp>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Q&amp;A and </a:t>
            </a:r>
          </a:p>
          <a:p>
            <a:r>
              <a:rPr lang="en-US" dirty="0"/>
              <a:t>Interaction</a:t>
            </a:r>
          </a:p>
        </p:txBody>
      </p:sp>
    </p:spTree>
    <p:extLst>
      <p:ext uri="{BB962C8B-B14F-4D97-AF65-F5344CB8AC3E}">
        <p14:creationId xmlns:p14="http://schemas.microsoft.com/office/powerpoint/2010/main" val="2966989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otx" id="{D1B38B4A-46A7-4909-BDBD-C3683F5CC9AE}" vid="{DD2A7401-098D-43FC-8578-ADBDC824BF4C}"/>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otx" id="{D1B38B4A-46A7-4909-BDBD-C3683F5CC9AE}" vid="{2D43BBE2-D768-47F4-AAF2-B43FC04EEB9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otx" id="{D1B38B4A-46A7-4909-BDBD-C3683F5CC9AE}" vid="{990C1DF4-7678-438A-A92C-CBDFDFBDE09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otx" id="{D1B38B4A-46A7-4909-BDBD-C3683F5CC9AE}" vid="{825C3BD6-30A5-41A0-B2D3-EF9320ED1147}"/>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B834EF3EDDB4447969899EBD289C565" ma:contentTypeVersion="0" ma:contentTypeDescription="Create a new document." ma:contentTypeScope="" ma:versionID="26841f65330ed1f10e546176cd4fb696">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CDD18F-07F2-4AAA-81F0-D0BCEDA244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1B10BA4-45DB-4BE4-A597-7EDB18C72743}">
  <ds:schemaRefs>
    <ds:schemaRef ds:uri="http://schemas.microsoft.com/sharepoint/v3/contenttype/forms"/>
  </ds:schemaRefs>
</ds:datastoreItem>
</file>

<file path=customXml/itemProps3.xml><?xml version="1.0" encoding="utf-8"?>
<ds:datastoreItem xmlns:ds="http://schemas.openxmlformats.org/officeDocument/2006/customXml" ds:itemID="{E6005DE4-BB6E-423A-BABF-D2752B15B873}">
  <ds:schemaRefs>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ADC and PWM Programming Training</Template>
  <TotalTime>517</TotalTime>
  <Words>307</Words>
  <Application>Microsoft Office PowerPoint</Application>
  <PresentationFormat>Widescreen</PresentationFormat>
  <Paragraphs>74</Paragraphs>
  <Slides>9</Slides>
  <Notes>1</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7" baseType="lpstr">
      <vt:lpstr>Arial</vt:lpstr>
      <vt:lpstr>Verdana</vt:lpstr>
      <vt:lpstr>Wingdings</vt:lpstr>
      <vt:lpstr>Capgemini Master</vt:lpstr>
      <vt:lpstr>Section break</vt:lpstr>
      <vt:lpstr>Cover options</vt:lpstr>
      <vt:lpstr>Final slides</vt:lpstr>
      <vt:lpstr>think-cell Slide</vt:lpstr>
      <vt:lpstr>PowerPoint Presentation</vt:lpstr>
      <vt:lpstr>Agenda</vt:lpstr>
      <vt:lpstr>What are Wearable Devices?</vt:lpstr>
      <vt:lpstr>Evolution and History</vt:lpstr>
      <vt:lpstr>Key Components</vt:lpstr>
      <vt:lpstr>AI and Machine Learning Integr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Prakash B, Bhanu</dc:creator>
  <cp:lastModifiedBy>Prakash B, Bhanu</cp:lastModifiedBy>
  <cp:revision>23</cp:revision>
  <dcterms:created xsi:type="dcterms:W3CDTF">2021-10-28T02:03:41Z</dcterms:created>
  <dcterms:modified xsi:type="dcterms:W3CDTF">2025-10-15T05:2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834EF3EDDB4447969899EBD289C565</vt:lpwstr>
  </property>
</Properties>
</file>